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705" r:id="rId2"/>
  </p:sldMasterIdLst>
  <p:notesMasterIdLst>
    <p:notesMasterId r:id="rId6"/>
  </p:notesMasterIdLst>
  <p:sldIdLst>
    <p:sldId id="271" r:id="rId3"/>
    <p:sldId id="257" r:id="rId4"/>
    <p:sldId id="265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24" d="100"/>
          <a:sy n="124" d="100"/>
        </p:scale>
        <p:origin x="520" y="16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CABEE7-1C1F-4634-8494-5632AB1726C3}" type="datetimeFigureOut">
              <a:rPr lang="en-AU" smtClean="0"/>
              <a:t>10/5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523D44-783E-4EA3-93F3-7B6DE17BC7F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04341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0E10061B-789A-42FF-8E62-511FEFCF9B06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DB2AFFF-F2C7-4A37-9B11-BCED3052A8D3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950CC9E-4E8B-411D-952E-1634E9AC07A8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464F084-BD6E-4CC3-9B52-611415964C7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027801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43042A-AEEC-4A5A-804F-0C212591B475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DFD7486-A58C-4B2E-B245-C1DA6F8F5D6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06054C3-A5E1-45D4-BF37-50B48BE1C97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5ED6397-C8AB-4B9C-814C-4F1FE5D3338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24514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0EDDF2-7F07-4362-BCDC-29EF63C227E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8D7EB24-D87E-4326-A831-55B51C1EBC59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6CF0165-5236-4A18-AFD7-E2C15E37FA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5834650-C8A5-49AB-9277-08052C1F266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4FF066B7-2BCD-4B3E-BC0D-937C40CC6A4D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6D4B88-A094-46D6-AEAD-6084D1039CE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B9A7FCD-24FA-4AAF-A522-67AFB44DB48A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06BAB701-8338-47D9-A1B3-EB6A11213F0A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52116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9D7ABD3-AE33-4C2A-A4F1-57C1CC063394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5E5059D5-83B6-4E3C-8691-B21BD8C73A0D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5C33A8C-3829-4B9A-ABB1-72E6CB77EA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441124E0-5849-4CD3-82EB-7318847FF89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A08C98F5-9F69-4ED8-850E-9FFE01FDCC1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83F3D1AB-1A77-4E7E-BE43-FE8B2E8C7B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AC99E6CA-102C-4B88-8A06-61E8998E54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D200FB-2745-4F6B-997A-F5BF5463140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809477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5AAAEBDC-CE2D-4406-B476-C082B31EBD2C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A300503-FE8B-4BD7-8820-70D0EE051AE9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B2D1BB40-A57B-4093-9BB3-EFE1854DB18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D8F7BCC-EDE8-445A-8560-17B42A88AAF8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9B4A864A-17B8-4B65-AA03-2B3141C0A732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FB1C8CA3-31F0-4D73-9AB7-C5BD80D4E4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F92F4D2-D714-4730-9136-76869B1BCF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74A095-9D4E-46E5-881E-7F9EBAE573E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699998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C2C20DE-FD33-4A6E-810D-EB78A869E6BA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C405C02D-9CCF-403D-8044-831EA3B8FCCB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E9380B31-E741-45ED-89EC-0C314DA0D8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A7536251-D387-4E19-9405-80D402F21899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0B7B713A-74FC-49DE-A8B6-369B37060273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65C7404A-B9BE-403B-9CCB-7AA8A18A74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67BCF27-B6C1-4053-A6D4-158AE8672C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AF4AAF-F9BB-4F03-B3B7-8607AFA5C1F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946316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29093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71504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6"/>
          </p:nvPr>
        </p:nvSpPr>
        <p:spPr>
          <a:xfrm>
            <a:off x="339106" y="1661686"/>
            <a:ext cx="11517932" cy="4438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9B37A18F-4E11-4279-B7B6-3C64CCF37CB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463213" y="6623050"/>
            <a:ext cx="357187" cy="13811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C8AEF2-83C7-4DCA-92F1-322B2EBA01D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5CF06810-D0E0-4693-AB99-DFF9195CB0B1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8316913" y="6621463"/>
            <a:ext cx="1620837" cy="139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0290F4-3857-4872-8AE4-DA58ED8B3950}" type="datetime9">
              <a:rPr lang="en-GB"/>
              <a:pPr>
                <a:defRPr/>
              </a:pPr>
              <a:t>10/05/2024 08:59: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4806726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slide - Gre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85236" y="241300"/>
            <a:ext cx="11040533" cy="719138"/>
          </a:xfr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lang="en-GB" sz="1600" b="0" i="0" kern="1200" spc="-50" baseline="0" dirty="0" smtClean="0">
                <a:solidFill>
                  <a:schemeClr val="tx1"/>
                </a:solidFill>
                <a:effectLst/>
                <a:latin typeface="Montserrat Medium" pitchFamily="2" charset="77"/>
                <a:ea typeface="+mj-ea"/>
                <a:cs typeface="+mj-cs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buNone/>
              <a:tabLst/>
              <a:defRPr sz="1600"/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5673" y="1143000"/>
            <a:ext cx="11406792" cy="5072558"/>
          </a:xfrm>
        </p:spPr>
        <p:txBody>
          <a:bodyPr/>
          <a:lstStyle>
            <a:lvl1pPr marL="0" indent="0">
              <a:lnSpc>
                <a:spcPts val="3001"/>
              </a:lnSpc>
              <a:buNone/>
              <a:defRPr lang="en-GB" smtClean="0">
                <a:effectLst/>
              </a:defRPr>
            </a:lvl1pPr>
            <a:lvl2pPr marL="0" marR="0" indent="0" algn="l" defTabSz="914344" rtl="0" eaLnBrk="1" fontAlgn="auto" latinLnBrk="0" hangingPunct="1">
              <a:lnSpc>
                <a:spcPts val="3001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Montserrat"/>
              <a:buNone/>
              <a:tabLst/>
              <a:defRPr lang="en-GB" smtClean="0">
                <a:effectLst/>
              </a:defRPr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634CCEB1-9E5F-4799-BCB7-3FD6E442A7B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85763" y="6408738"/>
            <a:ext cx="4800600" cy="287337"/>
          </a:xfrm>
        </p:spPr>
        <p:txBody>
          <a:bodyPr/>
          <a:lstStyle>
            <a:lvl1pPr algn="ctr" defTabSz="914400">
              <a:defRPr dirty="0">
                <a:solidFill>
                  <a:prstClr val="black">
                    <a:tint val="75000"/>
                  </a:prstClr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GB"/>
              <a:t>VI Technology Implementation Project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EFE9635E-723B-40F5-84FA-33B9D351887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4400" fontAlgn="auto">
              <a:spcBef>
                <a:spcPts val="0"/>
              </a:spcBef>
              <a:spcAft>
                <a:spcPts val="0"/>
              </a:spcAft>
              <a:defRPr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defRPr>
            </a:lvl1pPr>
          </a:lstStyle>
          <a:p>
            <a:pPr>
              <a:defRPr/>
            </a:pPr>
            <a:fld id="{7C1162DF-D67B-4DAE-A5A7-EA1BF038C27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77219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106AAE72-FFE0-4F8D-B8F3-7E7AC8D65A2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450CF92-BF78-4C7C-884D-E2A390DE8F8F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210398-FEA1-444C-BF67-54AC6818AA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AEBF04E-E119-4281-904A-AE67788017C2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901897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349A7676-8466-46D4-9FFC-7FD6E3131BF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858C418D-956F-4AF1-A6A9-7E4C99048F0B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A58A304-E741-4720-8523-B207E95758E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169173B-1148-4D80-B303-C318F6FD8CB1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554FCF65-3F91-426F-8B40-D14449BC4D1E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DD1C0B-FF7F-42EA-82AD-85D6071933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9A8563-2B0C-4FB2-89E3-D45F086E8AEF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0FDB6D7F-7078-4E29-BFE4-67F6B1B8B543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62681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974D8F20-B067-4FED-9998-DE0E7704E37A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E1BA0C9A-2D66-4022-AF17-30EB15488A6C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26BCC5C-9CDA-4E8F-BBF9-E7666142F0D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83769D-5123-4228-81DB-AEE452CA3AC6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F1CB3DA9-A9AC-42C1-8052-2E26DDC4FE08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8FD6BC1-E11B-4EF1-9973-FF11B169CAB5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C58B46A-320D-4D3B-9F48-4F043C0ECC1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D9D63716-CA6F-475B-967A-74175FDF169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494483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1DBE7F98-C0D4-4069-845C-6DA3BA04FC50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AC7FE499-58F7-4215-BBE3-1BA78A1F62F1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89100BC-E622-446C-9C90-E6BC06BB95E3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5FAA6BC4-C0D1-4596-BC96-FAB4854333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41C117-254B-4421-A2D6-438C73AA0C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E0BB010-E4EF-473C-ACD7-7674AE3681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8041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F2095A9-7E3F-4D3B-A2EB-2D3A9B79627D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B3237BB4-92A6-42D5-B23B-461C9A55165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C34F241-F6C2-4ADC-9047-829FA85C09C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18C62A6-3FC2-4608-9E86-BBE75C4FB7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3479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34B7501E-83E9-4104-B808-B866A1FC3821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C4F69358-C244-4104-9F9E-517656F86D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DFDCB46-C01B-44AD-BF6B-4A28E6FB51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4A97987F-1DC7-4F47-8D92-E5ED5956E4F1}"/>
              </a:ext>
            </a:extLst>
          </p:cNvPr>
          <p:cNvSpPr/>
          <p:nvPr userDrawn="1"/>
        </p:nvSpPr>
        <p:spPr>
          <a:xfrm flipH="1">
            <a:off x="6680200" y="0"/>
            <a:ext cx="1282700" cy="476250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5DC9D98A-F830-482D-A8B6-585C180AA7A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4FE1809-5C5A-4ED5-9E1A-7EE19232F31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87A3BA65-0659-4C1D-8788-233B041C260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038DCCE-A851-4B3A-8CB1-04F2F09E129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8798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D1E39775-5158-4314-B8B1-C566CB7C2450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499F1F42-5117-46D1-85C7-3F5583CA63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E5D0BB3-F680-4C00-B96D-7C4D163BBE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0C42D7A-3B17-4E68-8537-52D5F1FEDF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9974A1C7-3491-4E03-A89F-26D41088274E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3ADE43BE-3683-4D20-9482-51BF202766B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682918DA-4CEF-45E3-A475-AFE9CD48F4E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536D89F-BC88-40F3-BBA2-1BDAADF632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4946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28E82EFA-1817-4EE4-A615-1E50B96B3F09}"/>
              </a:ext>
            </a:extLst>
          </p:cNvPr>
          <p:cNvGrpSpPr/>
          <p:nvPr userDrawn="1"/>
        </p:nvGrpSpPr>
        <p:grpSpPr>
          <a:xfrm flipH="1">
            <a:off x="8056985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93B44480-900D-407B-9ECC-64D9E6A070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30360C0-BF78-49FA-9342-207784974FB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Parallelogram 7">
              <a:extLst>
                <a:ext uri="{FF2B5EF4-FFF2-40B4-BE49-F238E27FC236}">
                  <a16:creationId xmlns:a16="http://schemas.microsoft.com/office/drawing/2014/main" id="{CA999C14-079E-4BDF-9D44-378CCBD27596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F124080-EFE1-4B5B-9DBC-AD50E31CDB0E}"/>
              </a:ext>
            </a:extLst>
          </p:cNvPr>
          <p:cNvSpPr/>
          <p:nvPr userDrawn="1"/>
        </p:nvSpPr>
        <p:spPr>
          <a:xfrm flipH="1">
            <a:off x="71755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20F29ED2-B42B-4B22-BB7C-BD133BDCACC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7806661-2AB7-4CED-9153-C13AD03E61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A9CD9A6-F6C8-44AD-B84D-F435649391B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3961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30CF550-C460-40A7-B672-53E6A87F674D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1282C31-99D1-4FA3-AEBD-FD54954D5D7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2709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7C8C5592-E1F1-4874-B328-A72485D34ABA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738AF00F-E6DB-4FE3-82F6-85B2E7AF681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42305002-85EF-4FBB-BBEA-C24897AB78F3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BFFA57F4-B46A-468E-8510-D34D5CA4C838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9EA6EC03-3240-4BFE-903B-9086AD70165B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F81876B-557E-4354-8218-FCBE24F07794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3BB499B-4497-4065-B84B-F9EE5CE40848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790891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529739E2-7CDD-40D9-96A6-417CEDE8F6C7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CECA666-B8C5-4AEF-93E3-545D268BAA01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1A035CC-66C9-46CB-B021-D95C80A56570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DDBC90A-5FB6-4B5A-99D9-86323AC16DC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59824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C6F4D39-5A42-4613-A440-F7E76DAA9F2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3D44A1E9-BFAA-440C-99ED-7C7C0A81406D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4F793B2-2196-4E73-B5B0-943A768AE8CD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F5C86CD-3EDB-48B4-A50A-ADC3571F36C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585AA3C-A2DA-4664-B361-57779E76DFCA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651F49B-F3B8-4B9D-8977-F105C885E79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044A716-1F6E-45C3-830A-4792A7184B44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3E87D367-D3BD-49B4-98C3-062967494D8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14565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212A9BDC-F2C2-4267-829C-A309AA2F61DC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73C9363E-A254-4F77-A0E0-69999E2B6A15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06DDF9A-C58D-42CF-AB8B-11B0BDEC57A9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96E40C6-261A-45B3-826E-E4278438DE7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AEFDF6-5134-4962-A4BA-D82F2573102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29A5C-AA68-4965-B373-3734E9DE74E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807317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F22C077-F5C2-4BEC-A858-7D28FA408A78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0E00A484-E419-4B69-A11F-B251804785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48CCF5B-F8B3-4E4A-BC40-A3CC9B76CB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A21F7697-41FB-40DC-973D-DE1BC18AA11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7693084-24CE-4F75-B6D7-EB3A32FE70C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7C264062-7966-4C14-A272-07B899E90F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03998777-8C19-4A65-B4DB-E012E96F57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7C2BB20-774F-4B8D-8D40-E82AE2F27CA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274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15A78023-6584-4480-9D72-45D44D87B01A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F2318C7-CD15-43FA-8752-3330B5563A2D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9D9DBA7B-CF6F-4922-9FFA-B3B8B3AC9AA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88F356E-7062-4D24-9BEB-23D0E53AF854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205DC664-756B-40CB-BB91-613CC5BD61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5B750CCD-2DE4-4B46-A657-B2B04E9641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F33A136-33A2-4C58-B80F-A79CC0849F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4665023-AE77-46E6-B553-DBB992C5C1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8604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BCC4BF7-E260-4343-94B9-3A4807FD286B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B5172F52-1B08-4F13-8B13-53C3DD46384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92765506-E6B4-4423-893C-1E855C8A2A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CFD0E567-0DC7-47D6-8BFC-EA0C9D6A2710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F6B79687-4727-4249-AF60-8D11D5DCEB58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C797181-F8E0-4868-BCDC-2F86B66869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948DCC1-4550-4431-B213-F92051378D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9FD5826-C55D-41B1-812A-A1B17D0896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5740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260A19-EB33-5B47-AA38-0724F7129A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2EEC55-9275-0548-9BDE-A98618C8D8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182E7F-3749-4341-AA8A-86F6F0D316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C9425-2234-4337-83A8-2BCA40686C90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582AEC-86A5-D844-BBED-C577974EC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674A7D-F3CF-F443-AC80-C2EAE0561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6385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E5E44E-DE65-BD4A-AD6A-912E70E65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587F1C-78E6-4C46-8379-0AF7269CE8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2A5B83-6083-F748-9509-BFA4FB2242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02DCA7-D6C9-4108-9674-CE34EAF39A52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6CD984-C170-364A-8061-1622AB2C64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94B1B0-0BD6-454C-9764-2708FD273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7504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8ECE3-3AB9-8549-BFAC-7BDEC2616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E3810F-D8D2-9345-B4D8-67FD4EC4D7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1F8C31-310B-F44D-B241-92F0C6DB6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ECD11-B72E-45D9-9452-B04AC712C969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139BBB-78D6-2148-AE92-1626A9D78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6403E9-398A-584B-A36E-DB5F0FF41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8857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DF1B4-6A5B-EE48-A161-B7D7317D4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AB5B09-4B25-C941-B651-BAEB7912543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31D0C27-E88A-6344-A1BC-C38CA00FEB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4066F6-CD65-7C4E-9BE9-DD2E6A2D30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5B0FF9-0FA4-4C1C-8F36-081020902CF9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CB48E9-270D-174B-B7D7-1B942194D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C57802-4307-024D-84FE-8EC7B33F9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5995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86DFF8-4F5D-0447-9530-6945A7DF1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E76C8C-1DF1-F940-8AC4-ED27353835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FD699E-594C-C84D-B1FE-6D15A3DFCE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AEF75B4-8002-B748-849E-914832A05C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817E6E-B0A7-AF40-8211-B7854AF00CC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57CFC29-7D31-BF4F-B05B-75DC874E2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750A7B-F58A-4119-9DB7-BF10F0C3745A}" type="datetime1">
              <a:rPr lang="en-US" smtClean="0"/>
              <a:t>5/10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21A41D-F441-9646-A2BD-86C236BAC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371AC4-4D21-344C-8EC5-98CD2B526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15713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32520-F605-7843-A767-9F3C0BFAE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8447BB-FC85-8445-8068-138DD5634A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FE7734-399F-41D2-953C-DC1C65624066}" type="datetime1">
              <a:rPr lang="en-US" smtClean="0"/>
              <a:t>5/1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E691AB-F8AE-824B-825B-FF2C6E9EF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509246-C5E1-164F-8E35-36AE58C74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019090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4C98ACA-C8CA-1341-8A52-DC61CFF871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EC3DD-91A9-4EC3-934B-3458A79E087C}" type="datetime1">
              <a:rPr lang="en-US" smtClean="0"/>
              <a:t>5/10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91C092-BACC-8740-B71A-D664C2C4D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0464C1-568A-0048-96B9-FA74C2117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3505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62B474F-A7F3-4EB7-853B-56B286453377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47637C30-FCDA-4071-B661-900A99BEF6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EFC5E06-9E83-45A5-899A-38844A81FF5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4D6332-11CD-4B0D-8E61-97F05DD000C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43251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620CA-9716-E34E-B24F-6F3C15E64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8FD6DB-B85B-4949-A7A4-33BE0EB09A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E38D8-00CD-E942-8B7B-103E7FDBAF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1A6466-FF03-6543-B9F5-70724B11C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19D45-DDB9-45F7-A7CC-2B572801A2E2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A300DE-4E71-754A-A0A2-94BE94B77A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90D482F-1BFC-7F4C-8AE9-5FE4658F3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3518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0088F-BBEC-0F4C-BB4A-AC617F023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7D37FD3-E518-7A43-8FE1-A4CADAF74F9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8DEE87-0C25-2E40-AC2E-0E78A0AFDB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D0C433-0542-1342-AC73-7EAEC7D96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D8AE04-174D-46D3-9D33-F6399E3E6BC9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8637A2-D0E2-0B45-882F-46F2FC06F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4C0748-F7C5-1543-BF4B-EE26F3087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20609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E1153-6726-0643-A043-2379E41D3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9514D3-0EDA-8B4F-93DE-4A1789A557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367B16-C154-A64D-8F29-1FE70B4203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BDEF0-E09C-4EC7-ACEF-B7D58F73B4E2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9E2370-BEFC-A340-83BD-5AFE1462C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7BE8A2-2A7B-D942-A2C2-2E85ADDABB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068968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3092095-49C0-734E-A247-DEEEE415C4D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7313638-6A13-094C-B635-32CA53272B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2558F3-4768-7D46-B545-8C092D702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A4B5F-141C-4CB0-8325-F048CE0EF8F9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81982D-6AE7-D349-B8A3-FCE2B7A9C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35246B-AD71-FD40-89B0-DB46C13D7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096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BF809E07-9438-493B-84DC-9A3D52C5632F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E8A741BE-D973-462A-B31F-D1119410DD74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EE562DF-D932-444A-891D-E1B5988E6A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F0C9219B-F30F-4D94-AF5D-7299FE990275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F7718AF8-03E4-4E11-BA70-060AB602B755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52E00C1A-7F45-4B84-84C4-D661FE2283D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74B7D399-B7E4-4631-9F17-DDA042F3198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F2BC4F-1CA7-41F0-9E90-DAF11B3BD7C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564867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4F8CC69-6E79-4D54-AC3C-6D5A31C585A4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53101BE0-1560-4741-B5DE-0A265398C6B5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74EB59D7-551D-4C17-9DC6-286C9E4A68B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283C0A34-849E-4E11-99AF-456853FA8920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CCBAAC6D-5C29-48D7-85BE-981BAEF2C133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DD983BA3-455C-424A-A78D-0676A7567CA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97B40409-9726-4941-BBE6-35EEA4756CF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35A046-9AE0-4777-A9FB-A17C25C310F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748753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5BA3DBB-C8E3-4563-9224-B54539726D33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BB4DEC6F-E40C-4ACB-A05E-6971CA60F229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EEB62C46-8E6C-4DFF-867E-2269594BBF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A7F6E8C-4378-49F6-923A-E6F4DD9BC14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AC03FA4F-714E-4DC2-A142-67931D44E5EB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43A8D108-CAA5-4662-903C-8055B80EEB9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1679B1CB-81A4-4356-BE47-C9C7C3669C0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1B4081-CD93-4EAC-AFA6-C7C60174FC0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84842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E0EFE75-2EF4-460E-ACE8-B524801CC739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176F060-E2EE-446B-A919-D16FA988942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69055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AF235C6A-29ED-4073-B106-C3E1F76DECDE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644C4386-1E8C-466E-8DAF-2906658ECD0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5B1521C3-EF31-4250-A334-B11D8C371C86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1CA615DE-5DF8-48C3-81F3-6E1F11167B25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D160F2B3-A959-4ACD-952B-D0630BBF9F01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18588D5-A129-41D2-8D59-2491405053A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F8AE294-7FFA-458A-B625-5527BB4A488A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15320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4B42DE-ECE9-486A-8780-F04A9C997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C55BC7-FC64-4E9A-A9BB-533D4E045F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7425" y="6356350"/>
            <a:ext cx="7397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76530178-0652-427E-A8A3-856E4450533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100" name="Title Placeholder 8">
            <a:extLst>
              <a:ext uri="{FF2B5EF4-FFF2-40B4-BE49-F238E27FC236}">
                <a16:creationId xmlns:a16="http://schemas.microsoft.com/office/drawing/2014/main" id="{1A88BE4F-E373-44DE-AA19-99F734F2247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19113" y="209550"/>
            <a:ext cx="10834687" cy="1147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1320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</p:sldLayoutIdLst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IN" sz="44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IN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F02CAA2-0EFA-4F4A-8AC1-8524C680A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ABAAF8-6423-7F42-BE4B-D78180EBB5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7BC6DB-502C-F442-984F-952AC16328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B872DE-0E22-48E5-8A00-D268608FD87F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000755-CEAA-CA43-9FB4-D13CAB0FD6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7C95F0-BA3B-864C-96C3-F7C5D7501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0829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2.tiff"/><Relationship Id="rId11" Type="http://schemas.openxmlformats.org/officeDocument/2006/relationships/image" Target="../media/image17.svg"/><Relationship Id="rId5" Type="http://schemas.openxmlformats.org/officeDocument/2006/relationships/image" Target="../media/image11.tiff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258" name="Picture 5">
            <a:extLst>
              <a:ext uri="{FF2B5EF4-FFF2-40B4-BE49-F238E27FC236}">
                <a16:creationId xmlns:a16="http://schemas.microsoft.com/office/drawing/2014/main" id="{96575726-AB8D-477B-925E-64A6B439C3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175" y="1103313"/>
            <a:ext cx="4122738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9" name="Text Placeholder 5">
            <a:extLst>
              <a:ext uri="{FF2B5EF4-FFF2-40B4-BE49-F238E27FC236}">
                <a16:creationId xmlns:a16="http://schemas.microsoft.com/office/drawing/2014/main" id="{91DC8B7A-0AAE-4FA8-9FD4-DC99714286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8881" y="4089250"/>
            <a:ext cx="9256235" cy="1099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6858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kumimoji="0" lang="en-US" altLang="en-US" sz="2800" b="0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Scenario 11: </a:t>
            </a:r>
            <a:r>
              <a:rPr kumimoji="0" lang="en-US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Passing Roadworks Vehicles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lang="en-US" altLang="en-US" sz="2000" dirty="0" err="1">
                <a:solidFill>
                  <a:srgbClr val="3F3F3F"/>
                </a:solidFill>
                <a:latin typeface="Calibri" panose="020F0502020204030204" pitchFamily="34" charset="0"/>
              </a:rPr>
              <a:t>Ve</a:t>
            </a:r>
            <a:r>
              <a:rPr kumimoji="0" lang="en-US" alt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rsion</a:t>
            </a: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 October 2020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96260" name="Picture 19">
            <a:extLst>
              <a:ext uri="{FF2B5EF4-FFF2-40B4-BE49-F238E27FC236}">
                <a16:creationId xmlns:a16="http://schemas.microsoft.com/office/drawing/2014/main" id="{FA3DD556-8C06-4FDE-86A1-37870B7BF4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9" t="44743" r="7394" b="38982"/>
          <a:stretch>
            <a:fillRect/>
          </a:stretch>
        </p:blipFill>
        <p:spPr bwMode="auto">
          <a:xfrm>
            <a:off x="6452075" y="6273502"/>
            <a:ext cx="167005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1" name="Picture 16">
            <a:extLst>
              <a:ext uri="{FF2B5EF4-FFF2-40B4-BE49-F238E27FC236}">
                <a16:creationId xmlns:a16="http://schemas.microsoft.com/office/drawing/2014/main" id="{F4510B1D-3E19-4924-A455-F57C8A7702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3118" y="6278265"/>
            <a:ext cx="811213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2" name="Picture 12">
            <a:extLst>
              <a:ext uri="{FF2B5EF4-FFF2-40B4-BE49-F238E27FC236}">
                <a16:creationId xmlns:a16="http://schemas.microsoft.com/office/drawing/2014/main" id="{E9107983-AEB7-4105-AF55-43DF2814AE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0146" y="6271914"/>
            <a:ext cx="1504950" cy="325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3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B780F427-DAAA-458C-8F91-BB376DD865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4896" y="6156027"/>
            <a:ext cx="1990725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4" name="Picture 15">
            <a:extLst>
              <a:ext uri="{FF2B5EF4-FFF2-40B4-BE49-F238E27FC236}">
                <a16:creationId xmlns:a16="http://schemas.microsoft.com/office/drawing/2014/main" id="{CBD8023F-3D9B-4D6C-90EA-0BA073DC4F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13" y="6079827"/>
            <a:ext cx="1541462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5" name="Picture 10" descr="A picture containing clock, sign&#10;&#10;Description automatically generated">
            <a:extLst>
              <a:ext uri="{FF2B5EF4-FFF2-40B4-BE49-F238E27FC236}">
                <a16:creationId xmlns:a16="http://schemas.microsoft.com/office/drawing/2014/main" id="{73ADDEBA-4735-4802-A4A7-0E60B68D18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642" y="6305252"/>
            <a:ext cx="760412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">
            <a:extLst>
              <a:ext uri="{FF2B5EF4-FFF2-40B4-BE49-F238E27FC236}">
                <a16:creationId xmlns:a16="http://schemas.microsoft.com/office/drawing/2014/main" id="{0C2C7FC1-0259-4290-B89E-6BB8A52FE5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8881" y="2319189"/>
            <a:ext cx="9774237" cy="125382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Control Improvement Project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Knowledge Hub Resource - </a:t>
            </a:r>
            <a:r>
              <a:rPr kumimoji="0" lang="en-AU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Story Board Series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1343328-5B38-4A53-B55D-7FCC053CF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401" y="209028"/>
            <a:ext cx="9101183" cy="1215566"/>
          </a:xfrm>
        </p:spPr>
        <p:txBody>
          <a:bodyPr>
            <a:normAutofit fontScale="90000"/>
          </a:bodyPr>
          <a:lstStyle/>
          <a:p>
            <a:r>
              <a:rPr lang="en-AU" dirty="0"/>
              <a:t>Adapting and Using EMESRT Story Boards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A5AD79E0-86DD-485A-B0CB-35369107F4D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46449" y="1500516"/>
            <a:ext cx="9619861" cy="514845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0" rIns="36000" bIns="36000"/>
          <a:lstStyle/>
          <a:p>
            <a:pPr defTabSz="914400" eaLnBrk="1" fontAlgn="auto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AU" sz="2000" b="1" kern="0" dirty="0">
                <a:latin typeface="Calibri" pitchFamily="34" charset="0"/>
                <a:cs typeface="Calibri" pitchFamily="34" charset="0"/>
              </a:rPr>
              <a:t>What are they? 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 Story Board approach was developed by an EMESRT Member Company to assist with the specification and installation of Proximity Detection Systems (PDS) on mobile equipment at surface mines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y provide a visual and dynamic reference for equipment operators, PDS suppliers VI Control Improvement project managers as they implement VI intervention controls (EMESRT Levels 8–9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How can I use them?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Review each Story Board </a:t>
            </a: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in presentation mode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As required, adapt the resource to your circumstances 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Use the Story Boards as a resource during </a:t>
            </a:r>
            <a:r>
              <a:rPr lang="en-US" sz="2000" i="1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Phase 4 - New Technology Implementation 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i="1" kern="0" dirty="0">
                <a:solidFill>
                  <a:srgbClr val="001100"/>
                </a:solidFill>
                <a:latin typeface="Calibri" pitchFamily="34" charset="0"/>
                <a:cs typeface="Calibri" pitchFamily="34" charset="0"/>
              </a:rPr>
              <a:t>Remember LO = Local Object and RO = Remote Object (reference EMERST PR5A)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000" i="1" kern="0" dirty="0">
              <a:solidFill>
                <a:srgbClr val="00110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3387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AAB6A43-3623-8E49-BA78-02AE7DD41C14}"/>
              </a:ext>
            </a:extLst>
          </p:cNvPr>
          <p:cNvSpPr/>
          <p:nvPr/>
        </p:nvSpPr>
        <p:spPr>
          <a:xfrm>
            <a:off x="1027043" y="795131"/>
            <a:ext cx="2451652" cy="5983356"/>
          </a:xfrm>
          <a:prstGeom prst="rect">
            <a:avLst/>
          </a:prstGeom>
          <a:blipFill>
            <a:blip r:embed="rId2"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DBBFF3-F3ED-174C-8899-BCADA55FA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350" y="125199"/>
            <a:ext cx="10515600" cy="598970"/>
          </a:xfrm>
        </p:spPr>
        <p:txBody>
          <a:bodyPr>
            <a:normAutofit fontScale="90000"/>
          </a:bodyPr>
          <a:lstStyle/>
          <a:p>
            <a:r>
              <a:rPr lang="en-US" dirty="0"/>
              <a:t>Passing Roadwork Vehic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5F8CF3-AAAD-A748-A4A1-E3A7A09A0A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58358" y="609179"/>
            <a:ext cx="6145696" cy="6198803"/>
          </a:xfrm>
        </p:spPr>
        <p:txBody>
          <a:bodyPr>
            <a:normAutofit lnSpcReduction="10000"/>
          </a:bodyPr>
          <a:lstStyle/>
          <a:p>
            <a:r>
              <a:rPr lang="en-US" sz="1800" dirty="0"/>
              <a:t>RO (Grader) will have two zones when performing roadworks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400" dirty="0"/>
              <a:t>30 Kph speed limit radius large enough to cover both sides of the road in order to reinforce LO’s to maintain speed through road works area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400" dirty="0"/>
              <a:t>5m additional body width on each side of the RO (Grader) to reinforce to LO’s to maintain 5m clearance whilst passing the grader</a:t>
            </a:r>
          </a:p>
          <a:p>
            <a:r>
              <a:rPr lang="en-US" sz="1800" dirty="0"/>
              <a:t>30 Kph Road Works Zone –</a:t>
            </a:r>
          </a:p>
          <a:p>
            <a:pPr lvl="1"/>
            <a:r>
              <a:rPr lang="en-US" sz="1400" dirty="0"/>
              <a:t>When LO (Haul Truck) outer beam breaches the radius of the road works zone at X% above the speed limit the CAS display will brighten and display icons related to speed and roadworks</a:t>
            </a:r>
          </a:p>
          <a:p>
            <a:pPr lvl="1"/>
            <a:r>
              <a:rPr lang="en-US" sz="1400" dirty="0"/>
              <a:t>When LO inner beam breaches the radius of the road works zone at X% above the speed limit the CAS UI will give a verbal prompt ”Road Works Ahead”</a:t>
            </a:r>
          </a:p>
          <a:p>
            <a:pPr lvl="1"/>
            <a:r>
              <a:rPr lang="en-US" sz="1400" dirty="0"/>
              <a:t>When LO body breaches the radius of the road works zone at X% above the speed limit the CAS UI screen will give the verbal prompt “Reduce Speed” (same as normal speeding prompt)</a:t>
            </a:r>
          </a:p>
          <a:p>
            <a:pPr lvl="1"/>
            <a:r>
              <a:rPr lang="en-US" sz="1400" dirty="0"/>
              <a:t>No awareness, alerting or alarming in the RO (Grader)</a:t>
            </a:r>
          </a:p>
          <a:p>
            <a:r>
              <a:rPr lang="en-US" sz="1800" dirty="0"/>
              <a:t>5m Body Zone of Roadworks Equipment –</a:t>
            </a:r>
          </a:p>
          <a:p>
            <a:pPr lvl="1"/>
            <a:r>
              <a:rPr lang="en-US" sz="1400" dirty="0"/>
              <a:t>When LO (Haul Truck) inner beam breaches the 5m zone CAS display will brighten in the LO and a verbal prompt “Maintain Clearance”</a:t>
            </a:r>
          </a:p>
          <a:p>
            <a:pPr lvl="1"/>
            <a:r>
              <a:rPr lang="en-US" sz="1400" dirty="0"/>
              <a:t>When LO body breaches the 5m zone of the road works vehicle the verbal prompt “Breach or Body Breach” in both vehicles</a:t>
            </a:r>
          </a:p>
          <a:p>
            <a:pPr lvl="1"/>
            <a:r>
              <a:rPr lang="en-US" sz="1400" dirty="0"/>
              <a:t>No awareness or alerting will occur in the RO (Grader), unless the LO’s  body breaches RO’s 5m zone</a:t>
            </a:r>
          </a:p>
          <a:p>
            <a:pPr marL="0" lvl="0" indent="0">
              <a:buNone/>
            </a:pPr>
            <a:r>
              <a:rPr lang="en-US" sz="1200" dirty="0">
                <a:solidFill>
                  <a:prstClr val="black"/>
                </a:solidFill>
              </a:rPr>
              <a:t>For speeding - not applicable for wheel loaders, dozer, grader, light vehicles, drills, medium vehicles, cable </a:t>
            </a:r>
            <a:r>
              <a:rPr lang="en-US" sz="1200" dirty="0" err="1">
                <a:solidFill>
                  <a:prstClr val="black"/>
                </a:solidFill>
              </a:rPr>
              <a:t>reelers</a:t>
            </a:r>
            <a:r>
              <a:rPr lang="en-US" sz="1200" dirty="0">
                <a:solidFill>
                  <a:prstClr val="black"/>
                </a:solidFill>
              </a:rPr>
              <a:t> and tracked loading units</a:t>
            </a:r>
          </a:p>
          <a:p>
            <a:pPr marL="0" indent="0">
              <a:buNone/>
            </a:pPr>
            <a:r>
              <a:rPr lang="en-US" sz="1200" dirty="0">
                <a:solidFill>
                  <a:prstClr val="black"/>
                </a:solidFill>
              </a:rPr>
              <a:t>For body zone - not applicable for light vehicles, drills, medium vehicles and tracked loading units</a:t>
            </a:r>
            <a:endParaRPr lang="en-US" sz="1800" dirty="0">
              <a:solidFill>
                <a:prstClr val="black"/>
              </a:solidFill>
            </a:endParaRPr>
          </a:p>
          <a:p>
            <a:pPr marL="0" lvl="0" indent="0">
              <a:buNone/>
            </a:pPr>
            <a:endParaRPr lang="en-US" sz="1200" dirty="0">
              <a:solidFill>
                <a:prstClr val="black"/>
              </a:solidFill>
            </a:endParaRPr>
          </a:p>
          <a:p>
            <a:pPr marL="0" lvl="0" indent="0">
              <a:buNone/>
            </a:pPr>
            <a:endParaRPr lang="en-US" sz="1800" dirty="0">
              <a:solidFill>
                <a:prstClr val="black"/>
              </a:solidFill>
            </a:endParaRPr>
          </a:p>
          <a:p>
            <a:pPr marL="457200" lvl="1" indent="0">
              <a:buNone/>
            </a:pPr>
            <a:endParaRPr lang="en-US" sz="1400" dirty="0"/>
          </a:p>
          <a:p>
            <a:pPr marL="457200" lvl="1" indent="0">
              <a:buNone/>
            </a:pPr>
            <a:endParaRPr lang="en-US" sz="1400" dirty="0"/>
          </a:p>
          <a:p>
            <a:endParaRPr lang="en-US" sz="1800" dirty="0"/>
          </a:p>
          <a:p>
            <a:pPr marL="800100" lvl="1" indent="-342900">
              <a:buFont typeface="+mj-lt"/>
              <a:buAutoNum type="arabicPeriod"/>
            </a:pPr>
            <a:endParaRPr lang="en-US" sz="14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6305A71-0697-DA49-B467-ED1A737EFC95}"/>
              </a:ext>
            </a:extLst>
          </p:cNvPr>
          <p:cNvSpPr txBox="1"/>
          <p:nvPr/>
        </p:nvSpPr>
        <p:spPr>
          <a:xfrm>
            <a:off x="3650974" y="6397660"/>
            <a:ext cx="8007626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 = Grader, Dozer, Scraper &amp; Loader  LO = Haul Trucks, Fuel Trucks &amp; Water Truck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F6D9F2B-A131-4A41-B509-0E9DF3BF5E24}"/>
              </a:ext>
            </a:extLst>
          </p:cNvPr>
          <p:cNvGrpSpPr/>
          <p:nvPr/>
        </p:nvGrpSpPr>
        <p:grpSpPr>
          <a:xfrm>
            <a:off x="1156250" y="6970078"/>
            <a:ext cx="806346" cy="2221859"/>
            <a:chOff x="7747266" y="3723621"/>
            <a:chExt cx="608235" cy="2221859"/>
          </a:xfrm>
        </p:grpSpPr>
        <p:sp>
          <p:nvSpPr>
            <p:cNvPr id="8" name="Isosceles Triangle 90">
              <a:extLst>
                <a:ext uri="{FF2B5EF4-FFF2-40B4-BE49-F238E27FC236}">
                  <a16:creationId xmlns:a16="http://schemas.microsoft.com/office/drawing/2014/main" id="{6AF1C138-6578-CC40-8DED-A892D447EEBB}"/>
                </a:ext>
              </a:extLst>
            </p:cNvPr>
            <p:cNvSpPr/>
            <p:nvPr/>
          </p:nvSpPr>
          <p:spPr>
            <a:xfrm flipV="1">
              <a:off x="7835383" y="3723621"/>
              <a:ext cx="378000" cy="1397101"/>
            </a:xfrm>
            <a:prstGeom prst="triangle">
              <a:avLst/>
            </a:prstGeom>
            <a:solidFill>
              <a:srgbClr val="FFFF00">
                <a:alpha val="30000"/>
              </a:srgbClr>
            </a:solidFill>
            <a:ln w="317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Isosceles Triangle 109">
              <a:extLst>
                <a:ext uri="{FF2B5EF4-FFF2-40B4-BE49-F238E27FC236}">
                  <a16:creationId xmlns:a16="http://schemas.microsoft.com/office/drawing/2014/main" id="{6A344189-673A-464C-87CA-A13BBEE584D3}"/>
                </a:ext>
              </a:extLst>
            </p:cNvPr>
            <p:cNvSpPr/>
            <p:nvPr/>
          </p:nvSpPr>
          <p:spPr>
            <a:xfrm flipV="1">
              <a:off x="7868909" y="4034811"/>
              <a:ext cx="324000" cy="1085911"/>
            </a:xfrm>
            <a:prstGeom prst="triangle">
              <a:avLst/>
            </a:prstGeom>
            <a:solidFill>
              <a:srgbClr val="FF0000">
                <a:alpha val="40000"/>
              </a:srgbClr>
            </a:solidFill>
            <a:ln w="317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0" name="Picture 43">
              <a:extLst>
                <a:ext uri="{FF2B5EF4-FFF2-40B4-BE49-F238E27FC236}">
                  <a16:creationId xmlns:a16="http://schemas.microsoft.com/office/drawing/2014/main" id="{DE850E03-B622-D447-B867-1F37E94A0D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47266" y="5006631"/>
              <a:ext cx="608235" cy="9388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4BB624D-B4FA-E149-ADA1-56E6A88108C2}"/>
              </a:ext>
            </a:extLst>
          </p:cNvPr>
          <p:cNvGrpSpPr/>
          <p:nvPr/>
        </p:nvGrpSpPr>
        <p:grpSpPr>
          <a:xfrm>
            <a:off x="804940" y="2020805"/>
            <a:ext cx="1469338" cy="1626011"/>
            <a:chOff x="804940" y="2020805"/>
            <a:chExt cx="1469338" cy="1626011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8517A41-695E-FF4E-8B37-57238560C947}"/>
                </a:ext>
              </a:extLst>
            </p:cNvPr>
            <p:cNvSpPr/>
            <p:nvPr/>
          </p:nvSpPr>
          <p:spPr>
            <a:xfrm>
              <a:off x="804940" y="2020805"/>
              <a:ext cx="1469338" cy="1626011"/>
            </a:xfrm>
            <a:prstGeom prst="rect">
              <a:avLst/>
            </a:prstGeom>
            <a:solidFill>
              <a:schemeClr val="lt1">
                <a:alpha val="16000"/>
              </a:schemeClr>
            </a:solidFill>
            <a:ln w="38100">
              <a:solidFill>
                <a:schemeClr val="tx1"/>
              </a:solidFill>
              <a:prstDash val="dash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335A09C-B518-DE42-92AD-51229941A432}"/>
                </a:ext>
              </a:extLst>
            </p:cNvPr>
            <p:cNvGrpSpPr/>
            <p:nvPr/>
          </p:nvGrpSpPr>
          <p:grpSpPr>
            <a:xfrm>
              <a:off x="1683202" y="2982346"/>
              <a:ext cx="567630" cy="430672"/>
              <a:chOff x="1683202" y="2982346"/>
              <a:chExt cx="567630" cy="430672"/>
            </a:xfrm>
          </p:grpSpPr>
          <p:cxnSp>
            <p:nvCxnSpPr>
              <p:cNvPr id="13" name="Straight Arrow Connector 12">
                <a:extLst>
                  <a:ext uri="{FF2B5EF4-FFF2-40B4-BE49-F238E27FC236}">
                    <a16:creationId xmlns:a16="http://schemas.microsoft.com/office/drawing/2014/main" id="{F9EE8893-60FB-2C46-A8C8-80DC2F96B2F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83202" y="2982346"/>
                <a:ext cx="567630" cy="0"/>
              </a:xfrm>
              <a:prstGeom prst="straightConnector1">
                <a:avLst/>
              </a:prstGeom>
              <a:ln w="349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0D8F510F-7318-F941-82E0-23F1EFB14FEA}"/>
                  </a:ext>
                </a:extLst>
              </p:cNvPr>
              <p:cNvSpPr txBox="1"/>
              <p:nvPr/>
            </p:nvSpPr>
            <p:spPr>
              <a:xfrm>
                <a:off x="1708004" y="3043686"/>
                <a:ext cx="50918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5m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D0B0CBF9-E723-2C4E-8340-6660E046E74E}"/>
                </a:ext>
              </a:extLst>
            </p:cNvPr>
            <p:cNvGrpSpPr/>
            <p:nvPr/>
          </p:nvGrpSpPr>
          <p:grpSpPr>
            <a:xfrm>
              <a:off x="829087" y="2977435"/>
              <a:ext cx="567630" cy="430672"/>
              <a:chOff x="1683202" y="2982346"/>
              <a:chExt cx="567630" cy="430672"/>
            </a:xfrm>
          </p:grpSpPr>
          <p:cxnSp>
            <p:nvCxnSpPr>
              <p:cNvPr id="18" name="Straight Arrow Connector 17">
                <a:extLst>
                  <a:ext uri="{FF2B5EF4-FFF2-40B4-BE49-F238E27FC236}">
                    <a16:creationId xmlns:a16="http://schemas.microsoft.com/office/drawing/2014/main" id="{896BE50C-B85C-1E43-9805-9DA556B259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83202" y="2982346"/>
                <a:ext cx="567630" cy="0"/>
              </a:xfrm>
              <a:prstGeom prst="straightConnector1">
                <a:avLst/>
              </a:prstGeom>
              <a:ln w="34925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E9EF90C1-EB96-EE43-8795-433CCFFA377D}"/>
                  </a:ext>
                </a:extLst>
              </p:cNvPr>
              <p:cNvSpPr txBox="1"/>
              <p:nvPr/>
            </p:nvSpPr>
            <p:spPr>
              <a:xfrm>
                <a:off x="1708004" y="3043686"/>
                <a:ext cx="50918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5m</a:t>
                </a:r>
              </a:p>
            </p:txBody>
          </p: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FCEF39D-8FCC-BE4B-936C-75979F4BF73C}"/>
              </a:ext>
            </a:extLst>
          </p:cNvPr>
          <p:cNvGrpSpPr/>
          <p:nvPr/>
        </p:nvGrpSpPr>
        <p:grpSpPr>
          <a:xfrm>
            <a:off x="32358" y="1080694"/>
            <a:ext cx="3483661" cy="3438938"/>
            <a:chOff x="32358" y="1080694"/>
            <a:chExt cx="3483661" cy="3438938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9BE9E23-40AF-8145-BAD1-BC0910FE6395}"/>
                </a:ext>
              </a:extLst>
            </p:cNvPr>
            <p:cNvSpPr/>
            <p:nvPr/>
          </p:nvSpPr>
          <p:spPr>
            <a:xfrm>
              <a:off x="32358" y="1080694"/>
              <a:ext cx="3483661" cy="3438938"/>
            </a:xfrm>
            <a:prstGeom prst="ellipse">
              <a:avLst/>
            </a:prstGeom>
            <a:solidFill>
              <a:srgbClr val="E96E98">
                <a:alpha val="23000"/>
              </a:srgbClr>
            </a:solidFill>
            <a:ln w="34925">
              <a:solidFill>
                <a:srgbClr val="FF0000"/>
              </a:solidFill>
              <a:prstDash val="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 w="15875">
                  <a:solidFill>
                    <a:srgbClr val="FF0000"/>
                  </a:solidFill>
                  <a:prstDash val="dash"/>
                </a:ln>
                <a:solidFill>
                  <a:prstClr val="black"/>
                </a:solidFill>
                <a:effectLst>
                  <a:outerShdw blurRad="12700" dist="38100" dir="2700000" algn="tl" rotWithShape="0">
                    <a:prstClr val="white">
                      <a:lumMod val="5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CCF9B89-FB91-FD4D-A734-4E65B565ED5C}"/>
                </a:ext>
              </a:extLst>
            </p:cNvPr>
            <p:cNvSpPr txBox="1"/>
            <p:nvPr/>
          </p:nvSpPr>
          <p:spPr>
            <a:xfrm>
              <a:off x="1273069" y="1427616"/>
              <a:ext cx="84396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 w="12700">
                    <a:solidFill>
                      <a:prstClr val="black"/>
                    </a:solidFill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0 Kph</a:t>
              </a:r>
            </a:p>
          </p:txBody>
        </p:sp>
      </p:grpSp>
      <p:pic>
        <p:nvPicPr>
          <p:cNvPr id="21" name="Picture 20" descr="A screen shot of a computer&#10;&#10;Description automatically generated">
            <a:extLst>
              <a:ext uri="{FF2B5EF4-FFF2-40B4-BE49-F238E27FC236}">
                <a16:creationId xmlns:a16="http://schemas.microsoft.com/office/drawing/2014/main" id="{5F780B3A-E462-EF46-B22B-270691DE49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81666" y="795131"/>
            <a:ext cx="1854589" cy="309383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C72F34E-934E-B840-964B-36BB9C74CD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51365" y="2885372"/>
            <a:ext cx="497971" cy="497971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AA54BC3A-A840-F14F-9FB1-313AEB32F27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92887" y="2800163"/>
            <a:ext cx="399816" cy="599138"/>
          </a:xfrm>
          <a:prstGeom prst="rect">
            <a:avLst/>
          </a:prstGeom>
        </p:spPr>
      </p:pic>
      <p:pic>
        <p:nvPicPr>
          <p:cNvPr id="6" name="Picture 5" descr="C:\Users\TWoodham\AppData\Local\Microsoft\Windows\Temporary Internet Files\Content.Word\grader_no_bg.png">
            <a:extLst>
              <a:ext uri="{FF2B5EF4-FFF2-40B4-BE49-F238E27FC236}">
                <a16:creationId xmlns:a16="http://schemas.microsoft.com/office/drawing/2014/main" id="{637DEEB8-5871-1246-8A5D-5A383D1AC97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460" y="2106150"/>
            <a:ext cx="493643" cy="139710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7B4ECEF4-8403-A242-A8BA-C49E6BAF0068}"/>
              </a:ext>
            </a:extLst>
          </p:cNvPr>
          <p:cNvGrpSpPr/>
          <p:nvPr/>
        </p:nvGrpSpPr>
        <p:grpSpPr>
          <a:xfrm rot="19826997">
            <a:off x="1547001" y="4951161"/>
            <a:ext cx="1627387" cy="524000"/>
            <a:chOff x="536713" y="5512860"/>
            <a:chExt cx="1627387" cy="524000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A6A0C6B0-A083-DE44-8A82-F1C405843157}"/>
                </a:ext>
              </a:extLst>
            </p:cNvPr>
            <p:cNvSpPr txBox="1"/>
            <p:nvPr/>
          </p:nvSpPr>
          <p:spPr>
            <a:xfrm>
              <a:off x="536713" y="5759861"/>
              <a:ext cx="16273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“ROADWORKS AHEAD”</a:t>
              </a:r>
            </a:p>
          </p:txBody>
        </p:sp>
        <p:pic>
          <p:nvPicPr>
            <p:cNvPr id="29" name="Graphic 28" descr="Wi-Fi">
              <a:extLst>
                <a:ext uri="{FF2B5EF4-FFF2-40B4-BE49-F238E27FC236}">
                  <a16:creationId xmlns:a16="http://schemas.microsoft.com/office/drawing/2014/main" id="{D9A213E5-3F3C-FA46-9966-7A7A9FB2E17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20278001">
              <a:off x="1024205" y="5512860"/>
              <a:ext cx="380999" cy="380999"/>
            </a:xfrm>
            <a:prstGeom prst="rect">
              <a:avLst/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F5D0201-84B6-1843-9A01-29CB57D9B9FB}"/>
              </a:ext>
            </a:extLst>
          </p:cNvPr>
          <p:cNvGrpSpPr/>
          <p:nvPr/>
        </p:nvGrpSpPr>
        <p:grpSpPr>
          <a:xfrm flipH="1">
            <a:off x="3087858" y="3755241"/>
            <a:ext cx="1225879" cy="1043571"/>
            <a:chOff x="4551062" y="4164748"/>
            <a:chExt cx="1506867" cy="1083105"/>
          </a:xfrm>
        </p:grpSpPr>
        <p:pic>
          <p:nvPicPr>
            <p:cNvPr id="31" name="Graphic 30" descr="Marketing">
              <a:extLst>
                <a:ext uri="{FF2B5EF4-FFF2-40B4-BE49-F238E27FC236}">
                  <a16:creationId xmlns:a16="http://schemas.microsoft.com/office/drawing/2014/main" id="{B7CE3AE3-ABEA-5346-B98A-661E9553EC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551062" y="4333453"/>
              <a:ext cx="914400" cy="914400"/>
            </a:xfrm>
            <a:prstGeom prst="rect">
              <a:avLst/>
            </a:prstGeom>
          </p:spPr>
        </p:pic>
        <p:pic>
          <p:nvPicPr>
            <p:cNvPr id="32" name="Graphic 31" descr="Wi-Fi">
              <a:extLst>
                <a:ext uri="{FF2B5EF4-FFF2-40B4-BE49-F238E27FC236}">
                  <a16:creationId xmlns:a16="http://schemas.microsoft.com/office/drawing/2014/main" id="{8D131D5A-90A9-074C-9492-3F55E7F5A07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5400000">
              <a:off x="5143529" y="4164748"/>
              <a:ext cx="914400" cy="914400"/>
            </a:xfrm>
            <a:prstGeom prst="rect">
              <a:avLst/>
            </a:prstGeom>
          </p:spPr>
        </p:pic>
      </p:grp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D1297-FA94-7D43-9275-3BBF7943531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55380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5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3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3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3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29" dur="3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-7.40741E-7 L 0.03959 -0.37755 " pathEditMode="relative" rAng="0" ptsTypes="AA">
                                      <p:cBhvr>
                                        <p:cTn id="41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79" y="-1888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3000"/>
                            </p:stCondLst>
                            <p:childTnLst>
                              <p:par>
                                <p:cTn id="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0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3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8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3959 -0.37754 L 0.05964 -0.43148 " pathEditMode="relative" rAng="0" ptsTypes="AA">
                                      <p:cBhvr>
                                        <p:cTn id="62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3" y="-26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2000"/>
                            </p:stCondLst>
                            <p:childTnLst>
                              <p:par>
                                <p:cTn id="64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6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6" presetClass="emph" presetSubtype="0" repeatCount="3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1000" tmFilter="0, 0; .2, .5; .8, .5; 1, 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0" dur="500" autoRev="1" fill="hold"/>
                                        <p:tgtEl>
                                          <p:spTgt spid="2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5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5964 -0.43148 L 0.10847 -0.61111 " pathEditMode="relative" rAng="0" ptsTypes="AA">
                                      <p:cBhvr>
                                        <p:cTn id="81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87" y="-886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2000"/>
                            </p:stCondLst>
                            <p:childTnLst>
                              <p:par>
                                <p:cTn id="83" presetID="3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800" decel="100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6" dur="800" decel="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800" decel="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800" decel="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3000"/>
                            </p:stCondLst>
                            <p:childTnLst>
                              <p:par>
                                <p:cTn id="92" presetID="26" presetClass="emph" presetSubtype="0" repeatCount="3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3" dur="1000" tmFilter="0, 0; .2, .5; .8, .5; 1, 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4" dur="500" autoRev="1" fill="hold"/>
                                        <p:tgtEl>
                                          <p:spTgt spid="3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9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6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circle(out)">
                                      <p:cBhvr>
                                        <p:cTn id="101" dur="3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2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-7.40741E-7 L 0.06185 -0.53958 " pathEditMode="relative" rAng="0" ptsTypes="AA">
                                      <p:cBhvr>
                                        <p:cTn id="114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086" y="-2699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9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6184 -0.53958 L 0.06875 -0.69792 " pathEditMode="relative" rAng="0" ptsTypes="AA">
                                      <p:cBhvr>
                                        <p:cTn id="123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99" y="-76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8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9" fill="hold">
                      <p:stCondLst>
                        <p:cond delay="indefinite"/>
                      </p:stCondLst>
                      <p:childTnLst>
                        <p:par>
                          <p:cTn id="130" fill="hold">
                            <p:stCondLst>
                              <p:cond delay="0"/>
                            </p:stCondLst>
                            <p:childTnLst>
                              <p:par>
                                <p:cTn id="13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3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4" fill="hold">
                      <p:stCondLst>
                        <p:cond delay="indefinite"/>
                      </p:stCondLst>
                      <p:childTnLst>
                        <p:par>
                          <p:cTn id="135" fill="hold">
                            <p:stCondLst>
                              <p:cond delay="0"/>
                            </p:stCondLst>
                            <p:childTnLst>
                              <p:par>
                                <p:cTn id="13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8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u6Ris9mECUQjQ8ppo5SQ"/>
</p:tagLst>
</file>

<file path=ppt/theme/theme1.xml><?xml version="1.0" encoding="utf-8"?>
<a:theme xmlns:a="http://schemas.openxmlformats.org/drawingml/2006/main" name="2_Office Theme">
  <a:themeElements>
    <a:clrScheme name="Custom 14">
      <a:dk1>
        <a:srgbClr val="3F3F3F"/>
      </a:dk1>
      <a:lt1>
        <a:srgbClr val="FFFFFF"/>
      </a:lt1>
      <a:dk2>
        <a:srgbClr val="F2F2F2"/>
      </a:dk2>
      <a:lt2>
        <a:srgbClr val="A5A5A5"/>
      </a:lt2>
      <a:accent1>
        <a:srgbClr val="00194C"/>
      </a:accent1>
      <a:accent2>
        <a:srgbClr val="EAB200"/>
      </a:accent2>
      <a:accent3>
        <a:srgbClr val="F2F2F2"/>
      </a:accent3>
      <a:accent4>
        <a:srgbClr val="954F72"/>
      </a:accent4>
      <a:accent5>
        <a:srgbClr val="00843B"/>
      </a:accent5>
      <a:accent6>
        <a:srgbClr val="014067"/>
      </a:accent6>
      <a:hlink>
        <a:srgbClr val="00194C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F00951641_Hexagon presentation light_AAS_v4" id="{358289A0-A26B-433F-AD2B-1F8832C96153}" vid="{92CDC91D-95BF-4897-87D6-494563DF797D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3</TotalTime>
  <Words>484</Words>
  <Application>Microsoft Macintosh PowerPoint</Application>
  <PresentationFormat>Widescreen</PresentationFormat>
  <Paragraphs>38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rial</vt:lpstr>
      <vt:lpstr>Calibri</vt:lpstr>
      <vt:lpstr>Calibri Light</vt:lpstr>
      <vt:lpstr>Gill Sans SemiBold</vt:lpstr>
      <vt:lpstr>Montserrat</vt:lpstr>
      <vt:lpstr>Montserrat Medium</vt:lpstr>
      <vt:lpstr>Times New Roman</vt:lpstr>
      <vt:lpstr>2_Office Theme</vt:lpstr>
      <vt:lpstr>1_Office Theme</vt:lpstr>
      <vt:lpstr>PowerPoint Presentation</vt:lpstr>
      <vt:lpstr>Adapting and Using EMESRT Story Boards</vt:lpstr>
      <vt:lpstr>Passing Roadwork Vehicl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ESRT</dc:creator>
  <cp:lastModifiedBy>Eve McDonald</cp:lastModifiedBy>
  <cp:revision>22</cp:revision>
  <dcterms:created xsi:type="dcterms:W3CDTF">2020-10-07T22:58:51Z</dcterms:created>
  <dcterms:modified xsi:type="dcterms:W3CDTF">2024-05-09T22:59:38Z</dcterms:modified>
</cp:coreProperties>
</file>